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ags/tag1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2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  <p:sldMasterId id="2147483734" r:id="rId5"/>
    <p:sldMasterId id="2147483750" r:id="rId6"/>
    <p:sldMasterId id="2147483782" r:id="rId7"/>
    <p:sldMasterId id="2147483797" r:id="rId8"/>
    <p:sldMasterId id="2147483828" r:id="rId9"/>
    <p:sldMasterId id="2147483845" r:id="rId10"/>
    <p:sldMasterId id="2147483926" r:id="rId11"/>
    <p:sldMasterId id="2147483958" r:id="rId12"/>
    <p:sldMasterId id="2147483990" r:id="rId13"/>
    <p:sldMasterId id="2147484006" r:id="rId14"/>
    <p:sldMasterId id="2147484055" r:id="rId15"/>
    <p:sldMasterId id="2147484070" r:id="rId16"/>
    <p:sldMasterId id="2147484086" r:id="rId17"/>
    <p:sldMasterId id="2147484101" r:id="rId18"/>
  </p:sldMasterIdLst>
  <p:notesMasterIdLst>
    <p:notesMasterId r:id="rId22"/>
  </p:notesMasterIdLst>
  <p:sldIdLst>
    <p:sldId id="378" r:id="rId19"/>
    <p:sldId id="11018" r:id="rId20"/>
    <p:sldId id="11019" r:id="rId21"/>
  </p:sldIdLst>
  <p:sldSz cx="11522075" cy="6480175"/>
  <p:notesSz cx="6797675" cy="9926638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1996" userDrawn="1">
          <p15:clr>
            <a:srgbClr val="A4A3A4"/>
          </p15:clr>
        </p15:guide>
        <p15:guide id="4" orient="horz" pos="408">
          <p15:clr>
            <a:srgbClr val="A4A3A4"/>
          </p15:clr>
        </p15:guide>
        <p15:guide id="5" pos="6940">
          <p15:clr>
            <a:srgbClr val="A4A3A4"/>
          </p15:clr>
        </p15:guide>
        <p15:guide id="6" pos="1134" userDrawn="1">
          <p15:clr>
            <a:srgbClr val="A4A3A4"/>
          </p15:clr>
        </p15:guide>
        <p15:guide id="7" pos="6441">
          <p15:clr>
            <a:srgbClr val="A4A3A4"/>
          </p15:clr>
        </p15:guide>
        <p15:guide id="8" pos="3334" userDrawn="1">
          <p15:clr>
            <a:srgbClr val="A4A3A4"/>
          </p15:clr>
        </p15:guide>
        <p15:guide id="9" pos="3448" userDrawn="1">
          <p15:clr>
            <a:srgbClr val="A4A3A4"/>
          </p15:clr>
        </p15:guide>
        <p15:guide id="10" pos="2631">
          <p15:clr>
            <a:srgbClr val="A4A3A4"/>
          </p15:clr>
        </p15:guide>
        <p15:guide id="11" pos="2813">
          <p15:clr>
            <a:srgbClr val="A4A3A4"/>
          </p15:clr>
        </p15:guide>
        <p15:guide id="12" pos="363" userDrawn="1">
          <p15:clr>
            <a:srgbClr val="A4A3A4"/>
          </p15:clr>
        </p15:guide>
        <p15:guide id="13" pos="5262">
          <p15:clr>
            <a:srgbClr val="A4A3A4"/>
          </p15:clr>
        </p15:guide>
        <p15:guide id="14" orient="horz" pos="1814" userDrawn="1">
          <p15:clr>
            <a:srgbClr val="A4A3A4"/>
          </p15:clr>
        </p15:guide>
        <p15:guide id="15" orient="horz" pos="14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1" name="Ketels, Björn" initials="KB" lastIdx="1" clrIdx="20">
    <p:extLst>
      <p:ext uri="{19B8F6BF-5375-455C-9EA6-DF929625EA0E}">
        <p15:presenceInfo xmlns:p15="http://schemas.microsoft.com/office/powerpoint/2012/main" userId="S::ketels@adesso.de::fb77f7f5-62e7-4ce7-b602-9ecafdd9f7d7" providerId="AD"/>
      </p:ext>
    </p:extLst>
  </p:cmAuthor>
  <p:cmAuthor id="1" name="Weber, Marvin" initials="WM" lastIdx="3" clrIdx="0">
    <p:extLst>
      <p:ext uri="{19B8F6BF-5375-455C-9EA6-DF929625EA0E}">
        <p15:presenceInfo xmlns:p15="http://schemas.microsoft.com/office/powerpoint/2012/main" userId="S-1-5-21-4045125846-2727825638-2781775964-35716" providerId="AD"/>
      </p:ext>
    </p:extLst>
  </p:cmAuthor>
  <p:cmAuthor id="2" name="Bonnmann, Benedikt" initials="BB" lastIdx="76" clrIdx="1">
    <p:extLst>
      <p:ext uri="{19B8F6BF-5375-455C-9EA6-DF929625EA0E}">
        <p15:presenceInfo xmlns:p15="http://schemas.microsoft.com/office/powerpoint/2012/main" userId="S::Benedikt.Bonnmann@adesso.de::ac3e1248-1ae6-45d5-9b75-6eb54e4454f5" providerId="AD"/>
      </p:ext>
    </p:extLst>
  </p:cmAuthor>
  <p:cmAuthor id="9" name="Breuer, Jochen Philipp" initials="BJP" lastIdx="16" clrIdx="8">
    <p:extLst>
      <p:ext uri="{19B8F6BF-5375-455C-9EA6-DF929625EA0E}">
        <p15:presenceInfo xmlns:p15="http://schemas.microsoft.com/office/powerpoint/2012/main" userId="S::Jochen.Breuer@adesso.de::92637949-98db-4e72-9906-bb32d01c1579" providerId="AD"/>
      </p:ext>
    </p:extLst>
  </p:cmAuthor>
  <p:cmAuthor id="10" name="Hans, Heinz" initials="HH" lastIdx="33" clrIdx="9">
    <p:extLst>
      <p:ext uri="{19B8F6BF-5375-455C-9EA6-DF929625EA0E}">
        <p15:presenceInfo xmlns:p15="http://schemas.microsoft.com/office/powerpoint/2012/main" userId="S-1-5-21-4045125846-2727825638-2781775964-77629" providerId="AD"/>
      </p:ext>
    </p:extLst>
  </p:cmAuthor>
  <p:cmAuthor id="11" name="Mertens, Christian" initials="MC" lastIdx="7" clrIdx="10">
    <p:extLst>
      <p:ext uri="{19B8F6BF-5375-455C-9EA6-DF929625EA0E}">
        <p15:presenceInfo xmlns:p15="http://schemas.microsoft.com/office/powerpoint/2012/main" userId="S::christian.mertens@adesso.de::1457d906-68ac-4820-9d34-a4fa067d4639" providerId="AD"/>
      </p:ext>
    </p:extLst>
  </p:cmAuthor>
  <p:cmAuthor id="5" name="Gawrikow, Helena" initials="GH" lastIdx="23" clrIdx="4">
    <p:extLst>
      <p:ext uri="{19B8F6BF-5375-455C-9EA6-DF929625EA0E}">
        <p15:presenceInfo xmlns:p15="http://schemas.microsoft.com/office/powerpoint/2012/main" userId="S::Helena.Gawrikow@adesso.de::d7abbff7-7750-4618-a402-acd3bff4a6e8" providerId="AD"/>
      </p:ext>
    </p:extLst>
  </p:cmAuthor>
  <p:cmAuthor id="20" name="Müller, Udo" initials="MU" lastIdx="1" clrIdx="19">
    <p:extLst>
      <p:ext uri="{19B8F6BF-5375-455C-9EA6-DF929625EA0E}">
        <p15:presenceInfo xmlns:p15="http://schemas.microsoft.com/office/powerpoint/2012/main" userId="S::Udo.Mueller@adesso.de::2e9f2a76-c80d-45e5-9b1e-12a8d73e44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7C71"/>
    <a:srgbClr val="4C667A"/>
    <a:srgbClr val="6A89BA"/>
    <a:srgbClr val="050504"/>
    <a:srgbClr val="FFFFFF"/>
    <a:srgbClr val="0D0D0D"/>
    <a:srgbClr val="000000"/>
    <a:srgbClr val="FCFCFC"/>
    <a:srgbClr val="68736B"/>
    <a:srgbClr val="DAE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80816" autoAdjust="0"/>
  </p:normalViewPr>
  <p:slideViewPr>
    <p:cSldViewPr snapToGrid="0" showGuides="1">
      <p:cViewPr varScale="1">
        <p:scale>
          <a:sx n="103" d="100"/>
          <a:sy n="103" d="100"/>
        </p:scale>
        <p:origin x="1560" y="184"/>
      </p:cViewPr>
      <p:guideLst>
        <p:guide orient="horz" pos="227"/>
        <p:guide orient="horz" pos="952"/>
        <p:guide orient="horz" pos="1996"/>
        <p:guide orient="horz" pos="408"/>
        <p:guide pos="6940"/>
        <p:guide pos="1134"/>
        <p:guide pos="6441"/>
        <p:guide pos="3334"/>
        <p:guide pos="3448"/>
        <p:guide pos="2631"/>
        <p:guide pos="2813"/>
        <p:guide pos="363"/>
        <p:guide pos="5262"/>
        <p:guide orient="horz" pos="1814"/>
        <p:guide orient="horz" pos="14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8900-6234-440B-A027-38F10FF7E2F1}" type="datetimeFigureOut">
              <a:rPr lang="de-DE" smtClean="0"/>
              <a:t>12.03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2C3873-BA08-40A5-BDCC-B6406E6CD40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48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b="0" kern="1200">
        <a:solidFill>
          <a:schemeClr val="tx1"/>
        </a:solidFill>
        <a:latin typeface="Open Sans Semibold" panose="020B0706030804020204" pitchFamily="34" charset="0"/>
        <a:ea typeface="Open Sans Semibold" panose="020B0706030804020204" pitchFamily="34" charset="0"/>
        <a:cs typeface="Open Sans Semibold" panose="020B0706030804020204" pitchFamily="34" charset="0"/>
      </a:defRPr>
    </a:lvl1pPr>
    <a:lvl2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80000" algn="l" defTabSz="914400" rtl="0" eaLnBrk="1" latinLnBrk="0" hangingPunct="1">
      <a:defRPr sz="1400" i="1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C3873-BA08-40A5-BDCC-B6406E6CD40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961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2C3873-BA08-40A5-BDCC-B6406E6CD40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561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55106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41079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574554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40687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90658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51451" y="6232627"/>
            <a:ext cx="11465372" cy="89467"/>
            <a:chOff x="36485" y="6594892"/>
            <a:chExt cx="16122687" cy="94683"/>
          </a:xfrm>
        </p:grpSpPr>
        <p:grpSp>
          <p:nvGrpSpPr>
            <p:cNvPr id="15" name="Group 321"/>
            <p:cNvGrpSpPr/>
            <p:nvPr/>
          </p:nvGrpSpPr>
          <p:grpSpPr>
            <a:xfrm>
              <a:off x="36485" y="6600606"/>
              <a:ext cx="12068093" cy="88969"/>
              <a:chOff x="-170626" y="0"/>
              <a:chExt cx="13508082" cy="166915"/>
            </a:xfrm>
          </p:grpSpPr>
          <p:sp>
            <p:nvSpPr>
              <p:cNvPr id="17" name="Parallelogram 322"/>
              <p:cNvSpPr/>
              <p:nvPr/>
            </p:nvSpPr>
            <p:spPr>
              <a:xfrm>
                <a:off x="-170626" y="0"/>
                <a:ext cx="4511619" cy="166915"/>
              </a:xfrm>
              <a:prstGeom prst="parallelogram">
                <a:avLst>
                  <a:gd name="adj" fmla="val 114362"/>
                </a:avLst>
              </a:prstGeom>
              <a:solidFill>
                <a:srgbClr val="6187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arallelogram 323"/>
              <p:cNvSpPr/>
              <p:nvPr/>
            </p:nvSpPr>
            <p:spPr>
              <a:xfrm>
                <a:off x="4340993" y="0"/>
                <a:ext cx="8996463" cy="166915"/>
              </a:xfrm>
              <a:prstGeom prst="parallelogram">
                <a:avLst>
                  <a:gd name="adj" fmla="val 114362"/>
                </a:avLst>
              </a:prstGeom>
              <a:solidFill>
                <a:srgbClr val="66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6" name="Parallelogram 324"/>
            <p:cNvSpPr/>
            <p:nvPr/>
          </p:nvSpPr>
          <p:spPr>
            <a:xfrm>
              <a:off x="12128500" y="6594892"/>
              <a:ext cx="4030672" cy="88969"/>
            </a:xfrm>
            <a:prstGeom prst="parallelogram">
              <a:avLst>
                <a:gd name="adj" fmla="val 114362"/>
              </a:avLst>
            </a:prstGeom>
            <a:solidFill>
              <a:srgbClr val="857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1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862337"/>
      </p:ext>
    </p:extLst>
  </p:cSld>
  <p:clrMapOvr>
    <a:masterClrMapping/>
  </p:clrMapOvr>
  <p:transition spd="med">
    <p:pull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E5F0A11-E9AE-4A71-B363-96EB8B0DD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72" y="2005"/>
          <a:ext cx="1998" cy="1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E5F0A11-E9AE-4A71-B363-96EB8B0DD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2" y="2005"/>
                        <a:ext cx="1998" cy="1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E1A479-CB74-4059-BA7E-938F89141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64" y="355398"/>
            <a:ext cx="10809948" cy="371983"/>
          </a:xfrm>
          <a:prstGeom prst="rect">
            <a:avLst/>
          </a:prstGeom>
        </p:spPr>
        <p:txBody>
          <a:bodyPr lIns="68635" tIns="34317" rIns="68635" bIns="34317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40D87B-C596-4EF2-BB74-50F4CE3DF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Seite </a:t>
            </a:r>
            <a:fld id="{5B550D02-36FB-DB4F-A0A1-C5C3376DF5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5E09E9-8050-4634-9389-E6469E57AD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0064" y="1596067"/>
            <a:ext cx="10809948" cy="411811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2D658B4-AB48-4B88-98D8-5DA2ED5AB56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11522075" cy="276669"/>
          </a:xfrm>
        </p:spPr>
        <p:txBody>
          <a:bodyPr lIns="217672" tIns="2702" anchor="ctr"/>
          <a:lstStyle>
            <a:lvl1pPr>
              <a:defRPr sz="566" b="1">
                <a:solidFill>
                  <a:schemeClr val="bg2"/>
                </a:solidFill>
              </a:defRPr>
            </a:lvl1pPr>
            <a:lvl2pPr marL="168555" indent="0">
              <a:buNone/>
              <a:defRPr/>
            </a:lvl2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72359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81889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8237234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435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014170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1018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96922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4186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1204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1982820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8556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32521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5971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66031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71120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4940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7275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51462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537799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436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0449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43850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1938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418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1475931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515832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5587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740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8623898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697316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368119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6130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439954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690328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239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860207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0639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041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9039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5837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9796796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987217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1281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48743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8074247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126865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83817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055397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391934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259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9572267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4862549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32587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3764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8747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4480767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018318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260693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93610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265127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5471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617957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356840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/>
              <a:t>19.10.2020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84141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1" y="2087564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548000"/>
            <a:ext cx="9432603" cy="432048"/>
          </a:xfrm>
        </p:spPr>
        <p:txBody>
          <a:bodyPr/>
          <a:lstStyle>
            <a:lvl1pPr marL="0" indent="0" algn="l">
              <a:buNone/>
              <a:defRPr sz="1849" b="0" spc="20" baseline="0">
                <a:solidFill>
                  <a:schemeClr val="accent1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1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1"/>
            <a:ext cx="9433088" cy="431903"/>
          </a:xfrm>
        </p:spPr>
        <p:txBody>
          <a:bodyPr/>
          <a:lstStyle>
            <a:lvl1pPr>
              <a:defRPr sz="2499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04624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923077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1" y="1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6" y="1044000"/>
            <a:ext cx="9432603" cy="432048"/>
          </a:xfrm>
        </p:spPr>
        <p:txBody>
          <a:bodyPr/>
          <a:lstStyle>
            <a:lvl1pPr marL="0" indent="0" algn="l">
              <a:buNone/>
              <a:defRPr sz="1849" b="0" spc="20" baseline="0">
                <a:solidFill>
                  <a:schemeClr val="bg1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1"/>
            <a:ext cx="9433088" cy="431903"/>
          </a:xfrm>
        </p:spPr>
        <p:txBody>
          <a:bodyPr/>
          <a:lstStyle>
            <a:lvl1pPr>
              <a:defRPr sz="2499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1" y="396001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799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37342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9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059535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5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5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108" indent="0">
              <a:buNone/>
              <a:defRPr sz="1999" b="1"/>
            </a:lvl2pPr>
            <a:lvl3pPr marL="914216" indent="0">
              <a:buNone/>
              <a:defRPr sz="1800" b="1"/>
            </a:lvl3pPr>
            <a:lvl4pPr marL="1371324" indent="0">
              <a:buNone/>
              <a:defRPr sz="1600" b="1"/>
            </a:lvl4pPr>
            <a:lvl5pPr marL="1828432" indent="0">
              <a:buNone/>
              <a:defRPr sz="1600" b="1"/>
            </a:lvl5pPr>
            <a:lvl6pPr marL="2285540" indent="0">
              <a:buNone/>
              <a:defRPr sz="1600" b="1"/>
            </a:lvl6pPr>
            <a:lvl7pPr marL="2742648" indent="0">
              <a:buNone/>
              <a:defRPr sz="1600" b="1"/>
            </a:lvl7pPr>
            <a:lvl8pPr marL="3199756" indent="0">
              <a:buNone/>
              <a:defRPr sz="1600" b="1"/>
            </a:lvl8pPr>
            <a:lvl9pPr marL="3656864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9627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070812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466476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5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3971" indent="-143971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3971" indent="-143971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7942" indent="-143971">
              <a:lnSpc>
                <a:spcPct val="120000"/>
              </a:lnSpc>
              <a:spcAft>
                <a:spcPts val="0"/>
              </a:spcAft>
              <a:defRPr sz="1399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852298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1012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199"/>
            </a:lvl1pPr>
            <a:lvl2pPr marL="457108" indent="0">
              <a:buNone/>
              <a:defRPr sz="2800"/>
            </a:lvl2pPr>
            <a:lvl3pPr marL="914216" indent="0">
              <a:buNone/>
              <a:defRPr sz="2399"/>
            </a:lvl3pPr>
            <a:lvl4pPr marL="1371324" indent="0">
              <a:buNone/>
              <a:defRPr sz="1999"/>
            </a:lvl4pPr>
            <a:lvl5pPr marL="1828432" indent="0">
              <a:buNone/>
              <a:defRPr sz="1999"/>
            </a:lvl5pPr>
            <a:lvl6pPr marL="2285540" indent="0">
              <a:buNone/>
              <a:defRPr sz="1999"/>
            </a:lvl6pPr>
            <a:lvl7pPr marL="2742648" indent="0">
              <a:buNone/>
              <a:defRPr sz="1999"/>
            </a:lvl7pPr>
            <a:lvl8pPr marL="3199756" indent="0">
              <a:buNone/>
              <a:defRPr sz="1999"/>
            </a:lvl8pPr>
            <a:lvl9pPr marL="3656864" indent="0">
              <a:buNone/>
              <a:defRPr sz="1999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1999" b="0"/>
            </a:lvl1pPr>
            <a:lvl2pPr marL="457108" indent="0">
              <a:buNone/>
              <a:defRPr sz="1200"/>
            </a:lvl2pPr>
            <a:lvl3pPr marL="914216" indent="0">
              <a:buNone/>
              <a:defRPr sz="1000"/>
            </a:lvl3pPr>
            <a:lvl4pPr marL="1371324" indent="0">
              <a:buNone/>
              <a:defRPr sz="900"/>
            </a:lvl4pPr>
            <a:lvl5pPr marL="1828432" indent="0">
              <a:buNone/>
              <a:defRPr sz="900"/>
            </a:lvl5pPr>
            <a:lvl6pPr marL="2285540" indent="0">
              <a:buNone/>
              <a:defRPr sz="900"/>
            </a:lvl6pPr>
            <a:lvl7pPr marL="2742648" indent="0">
              <a:buNone/>
              <a:defRPr sz="900"/>
            </a:lvl7pPr>
            <a:lvl8pPr marL="3199756" indent="0">
              <a:buNone/>
              <a:defRPr sz="900"/>
            </a:lvl8pPr>
            <a:lvl9pPr marL="3656864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392830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6791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01637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1" y="395999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483681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3971" indent="-143971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3971" indent="-143971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7942" indent="-143971">
              <a:lnSpc>
                <a:spcPct val="120000"/>
              </a:lnSpc>
              <a:spcAft>
                <a:spcPts val="0"/>
              </a:spcAft>
              <a:defRPr sz="1399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0804111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9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1" y="360364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499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1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9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1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1" y="2087564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20317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626692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860452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008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415016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8809056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69569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4341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6581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135884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923200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03326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03829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302728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178951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784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6073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4642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2504200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126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6590626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630030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330080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91738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533512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255188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0307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8471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94465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95280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263937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7051077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82439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641726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494793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6950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009217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84878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4554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3225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50579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887584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887351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540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10999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187940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9150261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558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96677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505845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2840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5612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94081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5001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50063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7143F-636B-4446-9784-394F44F07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190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027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01003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34635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9999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38774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41103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52222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62548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841368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06042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1655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719326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2656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50813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327656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524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459938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436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130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848774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99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4797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3505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4451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086239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48637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0380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138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995645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896026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prstClr val="white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469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019167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9371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735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830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674817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9288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4955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44689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207580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427792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159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0860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14783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45076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19659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42716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7143F-636B-4446-9784-394F44F0770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534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674171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425116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891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284334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109317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94211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386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806636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2144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800090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9174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8325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5240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576263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>
          <a:xfrm>
            <a:off x="4464075" y="1511300"/>
            <a:ext cx="360045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7"/>
          </p:nvPr>
        </p:nvSpPr>
        <p:spPr>
          <a:xfrm>
            <a:off x="8352002" y="1511301"/>
            <a:ext cx="1873086" cy="4681538"/>
          </a:xfrm>
        </p:spPr>
        <p:txBody>
          <a:bodyPr rIns="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89817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DESSO 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4000" y="360363"/>
            <a:ext cx="8424936" cy="576047"/>
          </a:xfrm>
          <a:solidFill>
            <a:schemeClr val="bg1"/>
          </a:solidFill>
        </p:spPr>
        <p:txBody>
          <a:bodyPr lIns="288000" tIns="108000"/>
          <a:lstStyle>
            <a:lvl1pPr>
              <a:defRPr sz="2500" spc="5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6" y="1296000"/>
            <a:ext cx="5760000" cy="612169"/>
          </a:xfrm>
        </p:spPr>
        <p:txBody>
          <a:bodyPr numCol="3" spcCol="216000" anchor="t" anchorCtr="0"/>
          <a:lstStyle>
            <a:lvl1pPr marL="0" indent="0" algn="l">
              <a:lnSpc>
                <a:spcPct val="100000"/>
              </a:lnSpc>
              <a:spcAft>
                <a:spcPts val="300"/>
              </a:spcAft>
              <a:buNone/>
              <a:defRPr sz="1300" b="1" spc="20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300"/>
              </a:spcAft>
              <a:buNone/>
              <a:defRPr sz="1300">
                <a:solidFill>
                  <a:schemeClr val="accent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019"/>
          <a:stretch/>
        </p:blipFill>
        <p:spPr>
          <a:xfrm>
            <a:off x="8799968" y="396000"/>
            <a:ext cx="2359031" cy="5404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382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104" y="112839"/>
            <a:ext cx="10369868" cy="362675"/>
          </a:xfrm>
        </p:spPr>
        <p:txBody>
          <a:bodyPr/>
          <a:lstStyle/>
          <a:p>
            <a:r>
              <a:rPr lang="de-DE"/>
              <a:t>Einzeilige Überschrif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6104" y="660018"/>
            <a:ext cx="10369868" cy="5128639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8A96-99AD-184B-A8E8-77C65609B72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01145" y="6102992"/>
            <a:ext cx="7026819" cy="0"/>
          </a:xfrm>
          <a:prstGeom prst="line">
            <a:avLst/>
          </a:prstGeom>
          <a:ln w="44450" cap="rnd">
            <a:solidFill>
              <a:srgbClr val="CD0A1F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1485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288000" y="2087563"/>
            <a:ext cx="11235600" cy="4391025"/>
          </a:xfrm>
        </p:spPr>
        <p:txBody>
          <a:bodyPr anchor="ctr" anchorCtr="1"/>
          <a:lstStyle/>
          <a:p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2485" y="1548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11522075" cy="1511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000" y="396000"/>
            <a:ext cx="2050999" cy="5404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92000" y="1116000"/>
            <a:ext cx="9433088" cy="431903"/>
          </a:xfrm>
        </p:spPr>
        <p:txBody>
          <a:bodyPr/>
          <a:lstStyle>
            <a:lvl1pPr>
              <a:defRPr sz="2500" spc="5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8000"/>
            <a:ext cx="215798" cy="439094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792163" y="2340000"/>
            <a:ext cx="4464050" cy="648146"/>
          </a:xfrm>
        </p:spPr>
        <p:txBody>
          <a:bodyPr/>
          <a:lstStyle>
            <a:lvl1pPr>
              <a:lnSpc>
                <a:spcPct val="100000"/>
              </a:lnSpc>
              <a:spcAft>
                <a:spcPts val="3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18277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9648825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6129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383108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11235600" cy="648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/>
          </p:nvPr>
        </p:nvSpPr>
        <p:spPr>
          <a:xfrm>
            <a:off x="792485" y="1044000"/>
            <a:ext cx="9432603" cy="432048"/>
          </a:xfrm>
        </p:spPr>
        <p:txBody>
          <a:bodyPr/>
          <a:lstStyle>
            <a:lvl1pPr marL="0" indent="0" algn="l">
              <a:buNone/>
              <a:defRPr sz="1850" b="0" spc="2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>
          <a:xfrm>
            <a:off x="792000" y="612000"/>
            <a:ext cx="9433088" cy="431903"/>
          </a:xfrm>
        </p:spPr>
        <p:txBody>
          <a:bodyPr/>
          <a:lstStyle>
            <a:lvl1pPr>
              <a:defRPr sz="2500" spc="5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10710000" y="396000"/>
            <a:ext cx="540000" cy="72000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15798" cy="647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64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3" y="1511300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5545138" y="1503874"/>
            <a:ext cx="4679950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315613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104" y="1511300"/>
            <a:ext cx="468010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468010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545139" y="1511300"/>
            <a:ext cx="4679949" cy="543756"/>
          </a:xfrm>
        </p:spPr>
        <p:txBody>
          <a:bodyPr anchor="t" anchorCtr="0"/>
          <a:lstStyle>
            <a:lvl1pPr marL="0" indent="0">
              <a:buNone/>
              <a:defRPr sz="235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45139" y="2055056"/>
            <a:ext cx="4679949" cy="4137782"/>
          </a:xfrm>
        </p:spPr>
        <p:txBody>
          <a:bodyPr/>
          <a:lstStyle>
            <a:lvl1pPr>
              <a:defRPr sz="23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70072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5083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9815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76264" y="1519725"/>
            <a:ext cx="7200997" cy="46815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7"/>
          </p:nvPr>
        </p:nvSpPr>
        <p:spPr>
          <a:xfrm>
            <a:off x="8066086" y="1511301"/>
            <a:ext cx="3459600" cy="4968874"/>
          </a:xfrm>
        </p:spPr>
        <p:txBody>
          <a:bodyPr rIns="576000" bIns="288000"/>
          <a:lstStyle>
            <a:lvl1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2pPr>
            <a:lvl3pPr marL="144000" indent="-144000">
              <a:lnSpc>
                <a:spcPct val="120000"/>
              </a:lnSpc>
              <a:spcAft>
                <a:spcPts val="0"/>
              </a:spcAft>
              <a:defRPr sz="1800">
                <a:latin typeface="+mn-lt"/>
              </a:defRPr>
            </a:lvl3pPr>
            <a:lvl4pPr marL="144000" indent="-144000">
              <a:lnSpc>
                <a:spcPct val="120000"/>
              </a:lnSpc>
              <a:spcAft>
                <a:spcPts val="0"/>
              </a:spcAft>
              <a:defRPr sz="1600">
                <a:latin typeface="+mn-lt"/>
              </a:defRPr>
            </a:lvl4pPr>
            <a:lvl5pPr marL="288000" indent="-144000">
              <a:lnSpc>
                <a:spcPct val="120000"/>
              </a:lnSpc>
              <a:spcAft>
                <a:spcPts val="0"/>
              </a:spcAft>
              <a:defRPr sz="14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631814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76262" y="1511299"/>
            <a:ext cx="10440000" cy="439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76262" y="5904383"/>
            <a:ext cx="10440000" cy="400698"/>
          </a:xfrm>
        </p:spPr>
        <p:txBody>
          <a:bodyPr anchor="b" anchorCtr="0"/>
          <a:lstStyle>
            <a:lvl1pPr marL="0" indent="0">
              <a:buNone/>
              <a:defRPr sz="20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821300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5763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10225088" y="1511300"/>
            <a:ext cx="792162" cy="46815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6104" y="1511300"/>
            <a:ext cx="9648984" cy="46815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2737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ESSO Titel und Inhalt auf Fo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0110" y="395998"/>
            <a:ext cx="539771" cy="720000"/>
          </a:xfrm>
          <a:prstGeom prst="rect">
            <a:avLst/>
          </a:prstGeom>
        </p:spPr>
      </p:pic>
      <p:grpSp>
        <p:nvGrpSpPr>
          <p:cNvPr id="3" name="Gruppieren 2"/>
          <p:cNvGrpSpPr/>
          <p:nvPr userDrawn="1"/>
        </p:nvGrpSpPr>
        <p:grpSpPr>
          <a:xfrm>
            <a:off x="576000" y="396000"/>
            <a:ext cx="9648000" cy="216000"/>
            <a:chOff x="576000" y="396000"/>
            <a:chExt cx="9648000" cy="216000"/>
          </a:xfrm>
        </p:grpSpPr>
        <p:cxnSp>
          <p:nvCxnSpPr>
            <p:cNvPr id="10" name="Gerade Verbindung 9"/>
            <p:cNvCxnSpPr/>
            <p:nvPr userDrawn="1"/>
          </p:nvCxnSpPr>
          <p:spPr>
            <a:xfrm>
              <a:off x="576000" y="612000"/>
              <a:ext cx="9648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>
              <a:off x="8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>
              <a:off x="1764000" y="396000"/>
              <a:ext cx="0" cy="14400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443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34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heme" Target="../theme/theme10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42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w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14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vmlDrawing" Target="../drawings/vmlDrawing10.vml"/><Relationship Id="rId2" Type="http://schemas.openxmlformats.org/officeDocument/2006/relationships/slideLayout" Target="../slideLayouts/slideLayout148.xml"/><Relationship Id="rId16" Type="http://schemas.openxmlformats.org/officeDocument/2006/relationships/theme" Target="../theme/theme11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156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image" Target="../media/image2.w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163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tags" Target="../tags/tag22.xml"/><Relationship Id="rId3" Type="http://schemas.openxmlformats.org/officeDocument/2006/relationships/slideLayout" Target="../slideLayouts/slideLayout178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tags" Target="../tags/tag21.xml"/><Relationship Id="rId2" Type="http://schemas.openxmlformats.org/officeDocument/2006/relationships/slideLayout" Target="../slideLayouts/slideLayout177.xml"/><Relationship Id="rId16" Type="http://schemas.openxmlformats.org/officeDocument/2006/relationships/vmlDrawing" Target="../drawings/vmlDrawing1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5" Type="http://schemas.openxmlformats.org/officeDocument/2006/relationships/theme" Target="../theme/theme13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85.xml"/><Relationship Id="rId19" Type="http://schemas.openxmlformats.org/officeDocument/2006/relationships/oleObject" Target="../embeddings/oleObject11.bin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image" Target="../media/image3.w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19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191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theme" Target="../theme/theme14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99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image" Target="../media/image3.w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image" Target="../media/image3.wmf"/><Relationship Id="rId2" Type="http://schemas.openxmlformats.org/officeDocument/2006/relationships/slideLayout" Target="../slideLayouts/slideLayout205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3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39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3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46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45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4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3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5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image" Target="../media/image4.wmf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3.wmf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2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image" Target="../media/image3.w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7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90.xml"/><Relationship Id="rId21" Type="http://schemas.openxmlformats.org/officeDocument/2006/relationships/image" Target="../media/image4.wmf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image" Target="../media/image3.wmf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07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06.xml"/><Relationship Id="rId16" Type="http://schemas.openxmlformats.org/officeDocument/2006/relationships/vmlDrawing" Target="../drawings/vmlDrawing7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heme" Target="../theme/theme8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14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image" Target="../media/image3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21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20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theme" Target="../theme/theme9.xml"/><Relationship Id="rId23" Type="http://schemas.openxmlformats.org/officeDocument/2006/relationships/image" Target="../media/image4.wmf"/><Relationship Id="rId10" Type="http://schemas.openxmlformats.org/officeDocument/2006/relationships/slideLayout" Target="../slideLayouts/slideLayout128.xml"/><Relationship Id="rId19" Type="http://schemas.openxmlformats.org/officeDocument/2006/relationships/oleObject" Target="../embeddings/oleObject8.bin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image" Target="../media/image3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7535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880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  <p:sldLayoutId id="2147483687" r:id="rId13"/>
    <p:sldLayoutId id="2147483685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3511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458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0538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602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1" y="647800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1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9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209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</p:sldLayoutIdLst>
  <p:hf hdr="0"/>
  <p:txStyles>
    <p:titleStyle>
      <a:lvl1pPr algn="l" defTabSz="914216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399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399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1949" indent="-251949" algn="l" defTabSz="914216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7"/>
        </a:buBlip>
        <a:defRPr sz="2399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1913" indent="-179964" algn="l" defTabSz="91421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8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7870" indent="-179964" algn="l" defTabSz="914216" rtl="0" eaLnBrk="1" latinLnBrk="0" hangingPunct="1">
        <a:lnSpc>
          <a:spcPct val="120000"/>
        </a:lnSpc>
        <a:spcBef>
          <a:spcPts val="0"/>
        </a:spcBef>
        <a:buFontTx/>
        <a:buBlip>
          <a:blip r:embed="rId18"/>
        </a:buBlip>
        <a:defRPr sz="1999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094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2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0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7" indent="-228554" algn="l" defTabSz="914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2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0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8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6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4" algn="l" defTabSz="9142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14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59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977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3821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405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  <p:sldLayoutId id="2147484115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7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8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18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EB842C3-2695-4E20-A235-BFF12744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EB842C3-2695-4E20-A235-BFF127443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55B99FE-7B07-4C21-BCD3-11053DC38B4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926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85771B3-ED47-48CB-A8E9-4529FDE24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11167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85771B3-ED47-48CB-A8E9-4529FDE24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52F9F71-E35F-46D0-9181-32C1BA85DA41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66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3285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96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B419A72-E763-429A-9111-C9D8A769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1688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Folie" r:id="rId20" imgW="174" imgH="174" progId="TCLayout.ActiveDocument.1">
                  <p:embed/>
                </p:oleObj>
              </mc:Choice>
              <mc:Fallback>
                <p:oleObj name="think-cell Folie" r:id="rId20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B419A72-E763-429A-9111-C9D8A7696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7332018-589D-4796-8CC6-1EFDDA69EC3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85098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4451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3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4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4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4412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18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19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19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/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97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2" r:id="rId16"/>
    <p:sldLayoutId id="2147483863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0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1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1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8195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343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A5D2CF1-2361-4094-B45C-53183B78C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73019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think-cell Folie" r:id="rId19" imgW="174" imgH="174" progId="TCLayout.ActiveDocument.1">
                  <p:embed/>
                </p:oleObj>
              </mc:Choice>
              <mc:Fallback>
                <p:oleObj name="think-cell Folie" r:id="rId19" imgW="174" imgH="1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A5D2CF1-2361-4094-B45C-53183B78C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4220360-A00A-49BA-B2EF-AE524619932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100" b="0" i="0" baseline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6460" y="647799"/>
            <a:ext cx="9648627" cy="691737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6000" y="1511300"/>
            <a:ext cx="964800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18000" y="360363"/>
            <a:ext cx="827515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ctr">
              <a:defRPr sz="105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19.10.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72000" y="360363"/>
            <a:ext cx="8352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 spc="30" baseline="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006EC7"/>
                </a:solidFill>
              </a:rPr>
              <a:t>adesso SE – Aufbau Infrastruktur FLAKE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75999" y="360363"/>
            <a:ext cx="288000" cy="216000"/>
          </a:xfrm>
          <a:prstGeom prst="rect">
            <a:avLst/>
          </a:prstGeom>
        </p:spPr>
        <p:txBody>
          <a:bodyPr vert="horz" lIns="0" tIns="18000" rIns="0" bIns="0" rtlCol="0" anchor="t" anchorCtr="0"/>
          <a:lstStyle>
            <a:lvl1pPr algn="l">
              <a:defRPr sz="1050">
                <a:solidFill>
                  <a:schemeClr val="accent1"/>
                </a:solidFill>
              </a:defRPr>
            </a:lvl1pPr>
          </a:lstStyle>
          <a:p>
            <a:fld id="{E07F1749-2C29-4AD9-BF92-E70F8884412B}" type="slidenum">
              <a:rPr lang="de-DE" smtClean="0">
                <a:solidFill>
                  <a:srgbClr val="006EC7"/>
                </a:solidFill>
              </a:rPr>
              <a:pPr/>
              <a:t>‹Nr.›</a:t>
            </a:fld>
            <a:endParaRPr lang="de-DE">
              <a:solidFill>
                <a:srgbClr val="006EC7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996" y="395998"/>
            <a:ext cx="539999" cy="720000"/>
          </a:xfrm>
          <a:prstGeom prst="rect">
            <a:avLst/>
          </a:prstGeom>
        </p:spPr>
      </p:pic>
      <p:cxnSp>
        <p:nvCxnSpPr>
          <p:cNvPr id="10" name="Gerade Verbindung 9"/>
          <p:cNvCxnSpPr/>
          <p:nvPr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576000" y="612000"/>
            <a:ext cx="9648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8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1764000" y="396000"/>
            <a:ext cx="0" cy="144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5512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100" kern="1200" spc="10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b="1" kern="1200" spc="-20" baseline="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None/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Tx/>
        <a:buBlip>
          <a:blip r:embed="rId22"/>
        </a:buBlip>
        <a:defRPr sz="2400" kern="1200" spc="-20" baseline="0">
          <a:solidFill>
            <a:schemeClr val="bg2"/>
          </a:solidFill>
          <a:latin typeface="+mn-lt"/>
          <a:ea typeface="+mn-ea"/>
          <a:cs typeface="+mn-cs"/>
        </a:defRPr>
      </a:lvl3pPr>
      <a:lvl4pPr marL="432000" indent="-180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23"/>
        </a:buBlip>
        <a:defRPr sz="2200" kern="1200" spc="-20" baseline="0">
          <a:solidFill>
            <a:schemeClr val="bg2"/>
          </a:solidFill>
          <a:latin typeface="+mn-lt"/>
          <a:ea typeface="+mn-ea"/>
          <a:cs typeface="+mn-cs"/>
        </a:defRPr>
      </a:lvl4pPr>
      <a:lvl5pPr marL="648000" indent="-180000" algn="l" defTabSz="914400" rtl="0" eaLnBrk="1" latinLnBrk="0" hangingPunct="1">
        <a:lnSpc>
          <a:spcPct val="120000"/>
        </a:lnSpc>
        <a:spcBef>
          <a:spcPts val="0"/>
        </a:spcBef>
        <a:buFontTx/>
        <a:buBlip>
          <a:blip r:embed="rId23"/>
        </a:buBlip>
        <a:defRPr sz="2000" kern="1200" spc="-20" baseline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96307" y="2717528"/>
            <a:ext cx="9433088" cy="431903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DZ BANK – Repository Struktur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CAB6D7ED-0709-4E8D-B02E-D229934DDC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21" y="85765"/>
            <a:ext cx="3079890" cy="994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767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87E3BE-ADED-4BA4-A6A0-D935A13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wünschte Verzeichnisstruktur (CI </a:t>
            </a:r>
            <a:r>
              <a:rPr lang="de-DE" dirty="0" err="1"/>
              <a:t>branch</a:t>
            </a:r>
            <a:r>
              <a:rPr lang="de-DE" dirty="0"/>
              <a:t>): Ziel = Eine </a:t>
            </a:r>
            <a:r>
              <a:rPr lang="de-DE" dirty="0" err="1"/>
              <a:t>jar</a:t>
            </a:r>
            <a:r>
              <a:rPr lang="de-DE" dirty="0"/>
              <a:t>-Datei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B9B305-8BBE-49E7-BADD-8AB20C0D7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1.03.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C5CC9F-CBC8-431A-BCB3-795F53565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46547-9E75-4519-86E4-2DB1EB19B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2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80883A2-65E9-4F0D-A98B-627D0BAA03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131" y="1605504"/>
            <a:ext cx="2306767" cy="3888330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BCE2C827-884E-45AE-86E8-509BE72DFE0C}"/>
              </a:ext>
            </a:extLst>
          </p:cNvPr>
          <p:cNvCxnSpPr/>
          <p:nvPr/>
        </p:nvCxnSpPr>
        <p:spPr>
          <a:xfrm>
            <a:off x="1331757" y="2854712"/>
            <a:ext cx="2244067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7CCC3E94-D5BA-4082-99F3-3EA2BA7C458D}"/>
              </a:ext>
            </a:extLst>
          </p:cNvPr>
          <p:cNvSpPr txBox="1"/>
          <p:nvPr/>
        </p:nvSpPr>
        <p:spPr>
          <a:xfrm>
            <a:off x="3645738" y="2762379"/>
            <a:ext cx="912109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 err="1"/>
              <a:t>zip</a:t>
            </a:r>
            <a:r>
              <a:rPr lang="de-DE" sz="1200" b="1" dirty="0"/>
              <a:t> benötigt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D95215A-1779-4863-BC5D-D970F9E46D7F}"/>
              </a:ext>
            </a:extLst>
          </p:cNvPr>
          <p:cNvCxnSpPr>
            <a:cxnSpLocks/>
          </p:cNvCxnSpPr>
          <p:nvPr/>
        </p:nvCxnSpPr>
        <p:spPr>
          <a:xfrm>
            <a:off x="1223962" y="3728224"/>
            <a:ext cx="2351862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E847BEB4-CE9C-4AD7-9C99-ACDC87F26B06}"/>
              </a:ext>
            </a:extLst>
          </p:cNvPr>
          <p:cNvSpPr txBox="1"/>
          <p:nvPr/>
        </p:nvSpPr>
        <p:spPr>
          <a:xfrm>
            <a:off x="3595180" y="3635891"/>
            <a:ext cx="1925334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Wildwuchs an Versionen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15622BC-7EA1-4D35-ADBF-F52D6E12F484}"/>
              </a:ext>
            </a:extLst>
          </p:cNvPr>
          <p:cNvCxnSpPr/>
          <p:nvPr/>
        </p:nvCxnSpPr>
        <p:spPr>
          <a:xfrm>
            <a:off x="1872000" y="4735551"/>
            <a:ext cx="1723180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CF506FF8-34B5-4321-97AA-589B4EB8E684}"/>
              </a:ext>
            </a:extLst>
          </p:cNvPr>
          <p:cNvSpPr txBox="1"/>
          <p:nvPr/>
        </p:nvSpPr>
        <p:spPr>
          <a:xfrm>
            <a:off x="3469934" y="4578381"/>
            <a:ext cx="8052141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Übergabepfad bei </a:t>
            </a:r>
            <a:r>
              <a:rPr lang="de-DE" sz="1200" b="1" dirty="0" err="1"/>
              <a:t>spark-submit</a:t>
            </a:r>
            <a:r>
              <a:rPr lang="de-DE" sz="1200" b="1" dirty="0"/>
              <a:t> oder </a:t>
            </a:r>
            <a:r>
              <a:rPr lang="de-DE" sz="1200" b="1" dirty="0" err="1"/>
              <a:t>cloud</a:t>
            </a:r>
            <a:r>
              <a:rPr lang="de-DE" sz="1200" b="1" dirty="0"/>
              <a:t> </a:t>
            </a:r>
            <a:r>
              <a:rPr lang="de-DE" sz="1200" b="1" dirty="0" err="1"/>
              <a:t>functions</a:t>
            </a:r>
            <a:r>
              <a:rPr lang="de-DE" sz="1200" b="1" dirty="0"/>
              <a:t> enthält unnötigen Ballast (komplettes Projekt)</a:t>
            </a:r>
          </a:p>
          <a:p>
            <a:pPr algn="ctr"/>
            <a:r>
              <a:rPr lang="de-DE" sz="1200" b="1" dirty="0" err="1"/>
              <a:t>class</a:t>
            </a:r>
            <a:r>
              <a:rPr lang="de-DE" sz="1200" b="1" dirty="0"/>
              <a:t> </a:t>
            </a:r>
            <a:r>
              <a:rPr lang="de-DE" sz="1200" b="1" dirty="0" err="1"/>
              <a:t>path</a:t>
            </a:r>
            <a:r>
              <a:rPr lang="de-DE" sz="1200" b="1" dirty="0"/>
              <a:t> enthält Dateien, die nicht zur Ausführung benötigt werden und Konflikte verursachen könn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ADB434E-C8B7-40BA-A0FF-4C710EB69A6A}"/>
              </a:ext>
            </a:extLst>
          </p:cNvPr>
          <p:cNvSpPr txBox="1"/>
          <p:nvPr/>
        </p:nvSpPr>
        <p:spPr>
          <a:xfrm>
            <a:off x="719999" y="5493834"/>
            <a:ext cx="673262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pom.xml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AD2199AC-49BF-4B70-8CB5-47F4DB415857}"/>
              </a:ext>
            </a:extLst>
          </p:cNvPr>
          <p:cNvCxnSpPr>
            <a:cxnSpLocks/>
          </p:cNvCxnSpPr>
          <p:nvPr/>
        </p:nvCxnSpPr>
        <p:spPr>
          <a:xfrm flipV="1">
            <a:off x="1459405" y="5586167"/>
            <a:ext cx="2135775" cy="3717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D7CF1C67-98AA-475C-A390-D5AAA5106B19}"/>
              </a:ext>
            </a:extLst>
          </p:cNvPr>
          <p:cNvSpPr txBox="1"/>
          <p:nvPr/>
        </p:nvSpPr>
        <p:spPr>
          <a:xfrm>
            <a:off x="4225578" y="5451893"/>
            <a:ext cx="6317627" cy="36933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de-DE" sz="1200" b="1" dirty="0"/>
              <a:t>Konflikte mit </a:t>
            </a:r>
            <a:r>
              <a:rPr lang="de-DE" sz="1200" b="1" dirty="0" err="1"/>
              <a:t>Dependencies</a:t>
            </a:r>
            <a:r>
              <a:rPr lang="de-DE" sz="1200" b="1" dirty="0"/>
              <a:t>, aufwändige Wartbarkeit, </a:t>
            </a:r>
            <a:r>
              <a:rPr lang="de-DE" sz="1200" b="1" dirty="0" err="1"/>
              <a:t>build</a:t>
            </a:r>
            <a:r>
              <a:rPr lang="de-DE" sz="1200" b="1" dirty="0"/>
              <a:t>-Prozess wird sehr komplex </a:t>
            </a:r>
          </a:p>
          <a:p>
            <a:pPr algn="ctr"/>
            <a:r>
              <a:rPr lang="de-DE" sz="1200" b="1" dirty="0"/>
              <a:t>(Mix aus </a:t>
            </a:r>
            <a:r>
              <a:rPr lang="de-DE" sz="1200" b="1" dirty="0" err="1"/>
              <a:t>jar</a:t>
            </a:r>
            <a:r>
              <a:rPr lang="de-DE" sz="1200" b="1" dirty="0"/>
              <a:t>, </a:t>
            </a:r>
            <a:r>
              <a:rPr lang="de-DE" sz="1200" b="1" dirty="0" err="1"/>
              <a:t>zip</a:t>
            </a:r>
            <a:r>
              <a:rPr lang="de-DE" sz="1200" b="1" dirty="0"/>
              <a:t>)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07D182A-1E29-4581-86DD-04668B3A9ABB}"/>
              </a:ext>
            </a:extLst>
          </p:cNvPr>
          <p:cNvCxnSpPr>
            <a:cxnSpLocks/>
          </p:cNvCxnSpPr>
          <p:nvPr/>
        </p:nvCxnSpPr>
        <p:spPr>
          <a:xfrm>
            <a:off x="1543630" y="4218878"/>
            <a:ext cx="2051550" cy="438376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elle 7">
            <a:extLst>
              <a:ext uri="{FF2B5EF4-FFF2-40B4-BE49-F238E27FC236}">
                <a16:creationId xmlns:a16="http://schemas.microsoft.com/office/drawing/2014/main" id="{8059E6D1-083E-CB4D-AC7F-D2F892B189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347026"/>
              </p:ext>
            </p:extLst>
          </p:nvPr>
        </p:nvGraphicFramePr>
        <p:xfrm>
          <a:off x="5868321" y="1148121"/>
          <a:ext cx="530528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2640">
                  <a:extLst>
                    <a:ext uri="{9D8B030D-6E8A-4147-A177-3AD203B41FA5}">
                      <a16:colId xmlns:a16="http://schemas.microsoft.com/office/drawing/2014/main" val="2068643604"/>
                    </a:ext>
                  </a:extLst>
                </a:gridCol>
                <a:gridCol w="2652640">
                  <a:extLst>
                    <a:ext uri="{9D8B030D-6E8A-4147-A177-3AD203B41FA5}">
                      <a16:colId xmlns:a16="http://schemas.microsoft.com/office/drawing/2014/main" val="1012165327"/>
                    </a:ext>
                  </a:extLst>
                </a:gridCol>
              </a:tblGrid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Vor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achte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42242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einfache </a:t>
                      </a:r>
                      <a:r>
                        <a:rPr lang="de-DE" dirty="0" err="1"/>
                        <a:t>Deployment</a:t>
                      </a:r>
                      <a:r>
                        <a:rPr lang="de-DE" dirty="0"/>
                        <a:t> Pip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Wildwuchs an Versio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694783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einfache Integrationste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Konflikte mit </a:t>
                      </a:r>
                      <a:r>
                        <a:rPr lang="de-DE" dirty="0" err="1"/>
                        <a:t>Dependencies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82518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pom.xml</a:t>
                      </a:r>
                      <a:r>
                        <a:rPr lang="de-DE" dirty="0"/>
                        <a:t> groß / unübersichtl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17157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rtefakte beinhalten viel Ballast (komplettes Projek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7288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7228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87E3BE-ADED-4BA4-A6A0-D935A13F1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geschlagene Verzeichnisstruktur: Ziel = Modularer </a:t>
            </a:r>
            <a:r>
              <a:rPr lang="de-DE" dirty="0" err="1"/>
              <a:t>Build</a:t>
            </a:r>
            <a:r>
              <a:rPr lang="de-DE" dirty="0"/>
              <a:t>-Prozes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B9B305-8BBE-49E7-BADD-8AB20C0D7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1.03.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C5CC9F-CBC8-431A-BCB3-795F53565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desso SE – Aufbau Infrastruktur FLAKE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46547-9E75-4519-86E4-2DB1EB19B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1749-2C29-4AD9-BF92-E70F8884412B}" type="slidenum">
              <a:rPr lang="de-DE" smtClean="0"/>
              <a:t>3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0BF9800-79BC-4948-BBBA-B0AB3F437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18" y="1339536"/>
            <a:ext cx="2986683" cy="4422311"/>
          </a:xfrm>
          <a:prstGeom prst="rect">
            <a:avLst/>
          </a:prstGeom>
        </p:spPr>
      </p:pic>
      <p:graphicFrame>
        <p:nvGraphicFramePr>
          <p:cNvPr id="6" name="Tabelle 7">
            <a:extLst>
              <a:ext uri="{FF2B5EF4-FFF2-40B4-BE49-F238E27FC236}">
                <a16:creationId xmlns:a16="http://schemas.microsoft.com/office/drawing/2014/main" id="{9BD667F7-92B3-4262-A2A9-ECE1B6148F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759748"/>
              </p:ext>
            </p:extLst>
          </p:nvPr>
        </p:nvGraphicFramePr>
        <p:xfrm>
          <a:off x="4261447" y="1339536"/>
          <a:ext cx="6031898" cy="3749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949">
                  <a:extLst>
                    <a:ext uri="{9D8B030D-6E8A-4147-A177-3AD203B41FA5}">
                      <a16:colId xmlns:a16="http://schemas.microsoft.com/office/drawing/2014/main" val="2068643604"/>
                    </a:ext>
                  </a:extLst>
                </a:gridCol>
                <a:gridCol w="3015949">
                  <a:extLst>
                    <a:ext uri="{9D8B030D-6E8A-4147-A177-3AD203B41FA5}">
                      <a16:colId xmlns:a16="http://schemas.microsoft.com/office/drawing/2014/main" val="1012165327"/>
                    </a:ext>
                  </a:extLst>
                </a:gridCol>
              </a:tblGrid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Vor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achte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242242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Trennung von WIE (Source Code) und WAS (Terraform Cod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iele </a:t>
                      </a:r>
                      <a:r>
                        <a:rPr lang="de-DE" dirty="0" err="1"/>
                        <a:t>Build</a:t>
                      </a:r>
                      <a:r>
                        <a:rPr lang="de-DE" dirty="0"/>
                        <a:t>-Pipe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694783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r>
                        <a:rPr lang="de-DE" dirty="0"/>
                        <a:t>Artefakte-</a:t>
                      </a:r>
                      <a:r>
                        <a:rPr lang="de-DE" dirty="0" err="1"/>
                        <a:t>unabhänig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Versionierung</a:t>
                      </a:r>
                      <a:r>
                        <a:rPr lang="de-DE" dirty="0"/>
                        <a:t>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82518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317157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7728828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819452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3775351"/>
                  </a:ext>
                </a:extLst>
              </a:tr>
              <a:tr h="247681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5871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5740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8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jjlOiqzIZILjLpvaDx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ZzOdCFtdgG_fI3Tzj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AvTHKPg7PfXtGWu7sc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TVyPoB.fbiD0sUz7JMA"/>
</p:tagLst>
</file>

<file path=ppt/theme/theme1.xml><?xml version="1.0" encoding="utf-8"?>
<a:theme xmlns:a="http://schemas.openxmlformats.org/drawingml/2006/main" name="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0.xml><?xml version="1.0" encoding="utf-8"?>
<a:theme xmlns:a="http://schemas.openxmlformats.org/drawingml/2006/main" name="21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1.xml><?xml version="1.0" encoding="utf-8"?>
<a:theme xmlns:a="http://schemas.openxmlformats.org/drawingml/2006/main" name="10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2.xml><?xml version="1.0" encoding="utf-8"?>
<a:theme xmlns:a="http://schemas.openxmlformats.org/drawingml/2006/main" name="2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3.xml><?xml version="1.0" encoding="utf-8"?>
<a:theme xmlns:a="http://schemas.openxmlformats.org/drawingml/2006/main" name="23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4.xml><?xml version="1.0" encoding="utf-8"?>
<a:theme xmlns:a="http://schemas.openxmlformats.org/drawingml/2006/main" name="1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5.xml><?xml version="1.0" encoding="utf-8"?>
<a:theme xmlns:a="http://schemas.openxmlformats.org/drawingml/2006/main" name="5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1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3.xml><?xml version="1.0" encoding="utf-8"?>
<a:theme xmlns:a="http://schemas.openxmlformats.org/drawingml/2006/main" name="3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4.xml><?xml version="1.0" encoding="utf-8"?>
<a:theme xmlns:a="http://schemas.openxmlformats.org/drawingml/2006/main" name="15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5.xml><?xml version="1.0" encoding="utf-8"?>
<a:theme xmlns:a="http://schemas.openxmlformats.org/drawingml/2006/main" name="6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98"/>
          </a:schemeClr>
        </a:solidFill>
        <a:ln>
          <a:solidFill>
            <a:schemeClr val="accent4"/>
          </a:solidFill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6.xml><?xml version="1.0" encoding="utf-8"?>
<a:theme xmlns:a="http://schemas.openxmlformats.org/drawingml/2006/main" name="8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7.xml><?xml version="1.0" encoding="utf-8"?>
<a:theme xmlns:a="http://schemas.openxmlformats.org/drawingml/2006/main" name="9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8.xml><?xml version="1.0" encoding="utf-8"?>
<a:theme xmlns:a="http://schemas.openxmlformats.org/drawingml/2006/main" name="16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ppt/theme/theme9.xml><?xml version="1.0" encoding="utf-8"?>
<a:theme xmlns:a="http://schemas.openxmlformats.org/drawingml/2006/main" name="19_ADESSO-2016">
  <a:themeElements>
    <a:clrScheme name="ADESSO Farben2016">
      <a:dk1>
        <a:sysClr val="windowText" lastClr="000000"/>
      </a:dk1>
      <a:lt1>
        <a:sysClr val="window" lastClr="FFFFFF"/>
      </a:lt1>
      <a:dk2>
        <a:srgbClr val="888279"/>
      </a:dk2>
      <a:lt2>
        <a:srgbClr val="595959"/>
      </a:lt2>
      <a:accent1>
        <a:srgbClr val="006EC7"/>
      </a:accent1>
      <a:accent2>
        <a:srgbClr val="774251"/>
      </a:accent2>
      <a:accent3>
        <a:srgbClr val="618792"/>
      </a:accent3>
      <a:accent4>
        <a:srgbClr val="857700"/>
      </a:accent4>
      <a:accent5>
        <a:srgbClr val="AF593E"/>
      </a:accent5>
      <a:accent6>
        <a:srgbClr val="663300"/>
      </a:accent6>
      <a:hlink>
        <a:srgbClr val="2D232E"/>
      </a:hlink>
      <a:folHlink>
        <a:srgbClr val="324611"/>
      </a:folHlink>
    </a:clrScheme>
    <a:fontScheme name="ADESSO Schriften2016">
      <a:majorFont>
        <a:latin typeface="Open Sans Condensed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ctr">
          <a:defRPr sz="1200" b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ESSO-PowerPoint-Vorlage-2016-16zu9.potx" id="{DEE1FB47-8437-4D9A-AC06-D8A29F51A5AB}" vid="{2EF04E00-0B8A-45AE-8120-22F46B2D12F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yperlink xmlns="5945c407-0757-4df6-8c4a-6c977f0dfe4c">
      <Url xsi:nil="true"/>
      <Description xsi:nil="true"/>
    </Hyperlink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681997E16230C46BB2D82801A7CEF71" ma:contentTypeVersion="13" ma:contentTypeDescription="Ein neues Dokument erstellen." ma:contentTypeScope="" ma:versionID="dd1328652bd55ee926ca591425b21bcf">
  <xsd:schema xmlns:xsd="http://www.w3.org/2001/XMLSchema" xmlns:xs="http://www.w3.org/2001/XMLSchema" xmlns:p="http://schemas.microsoft.com/office/2006/metadata/properties" xmlns:ns2="5945c407-0757-4df6-8c4a-6c977f0dfe4c" xmlns:ns3="1a5effe4-e61f-42e6-b439-2d91e35a1401" targetNamespace="http://schemas.microsoft.com/office/2006/metadata/properties" ma:root="true" ma:fieldsID="bb4365d5218c0c29552c448dbb6b6a9c" ns2:_="" ns3:_="">
    <xsd:import namespace="5945c407-0757-4df6-8c4a-6c977f0dfe4c"/>
    <xsd:import namespace="1a5effe4-e61f-42e6-b439-2d91e35a14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Hyperlink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45c407-0757-4df6-8c4a-6c977f0dfe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Hyperlink" ma:index="18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5effe4-e61f-42e6-b439-2d91e35a140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C6447A-A201-4164-A14D-D5ABC63365F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ADF0A8-FFDA-4C23-86F0-00A9B58EBE0E}">
  <ds:schemaRefs>
    <ds:schemaRef ds:uri="http://schemas.microsoft.com/office/infopath/2007/PartnerControls"/>
    <ds:schemaRef ds:uri="http://schemas.microsoft.com/office/2006/metadata/properties"/>
    <ds:schemaRef ds:uri="1a5effe4-e61f-42e6-b439-2d91e35a1401"/>
    <ds:schemaRef ds:uri="http://schemas.microsoft.com/office/2006/documentManagement/types"/>
    <ds:schemaRef ds:uri="http://www.w3.org/XML/1998/namespace"/>
    <ds:schemaRef ds:uri="5945c407-0757-4df6-8c4a-6c977f0dfe4c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4F0A0C2A-1E3A-41C9-9729-386D9EA1ABFE}">
  <ds:schemaRefs>
    <ds:schemaRef ds:uri="1a5effe4-e61f-42e6-b439-2d91e35a1401"/>
    <ds:schemaRef ds:uri="5945c407-0757-4df6-8c4a-6c977f0dfe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ESSO-2016</Template>
  <TotalTime>0</TotalTime>
  <Words>141</Words>
  <Application>Microsoft Macintosh PowerPoint</Application>
  <PresentationFormat>Benutzerdefiniert</PresentationFormat>
  <Paragraphs>31</Paragraphs>
  <Slides>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5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25" baseType="lpstr">
      <vt:lpstr>Arial</vt:lpstr>
      <vt:lpstr>Open Sans</vt:lpstr>
      <vt:lpstr>Open Sans Semibold</vt:lpstr>
      <vt:lpstr>Symbol</vt:lpstr>
      <vt:lpstr>Wingdings</vt:lpstr>
      <vt:lpstr>ADESSO-2016</vt:lpstr>
      <vt:lpstr>2_ADESSO-2016</vt:lpstr>
      <vt:lpstr>3_ADESSO-2016</vt:lpstr>
      <vt:lpstr>15_ADESSO-2016</vt:lpstr>
      <vt:lpstr>6_ADESSO-2016</vt:lpstr>
      <vt:lpstr>8_ADESSO-2016</vt:lpstr>
      <vt:lpstr>9_ADESSO-2016</vt:lpstr>
      <vt:lpstr>16_ADESSO-2016</vt:lpstr>
      <vt:lpstr>19_ADESSO-2016</vt:lpstr>
      <vt:lpstr>21_ADESSO-2016</vt:lpstr>
      <vt:lpstr>10_ADESSO-2016</vt:lpstr>
      <vt:lpstr>22_ADESSO-2016</vt:lpstr>
      <vt:lpstr>23_ADESSO-2016</vt:lpstr>
      <vt:lpstr>12_ADESSO-2016</vt:lpstr>
      <vt:lpstr>5_ADESSO-2016</vt:lpstr>
      <vt:lpstr>think-cell Folie</vt:lpstr>
      <vt:lpstr>think-cell Slide</vt:lpstr>
      <vt:lpstr>DZ BANK – Repository Struktur</vt:lpstr>
      <vt:lpstr>Gewünschte Verzeichnisstruktur (CI branch): Ziel = Eine jar-Datei</vt:lpstr>
      <vt:lpstr>Vorgeschlagene Verzeichnisstruktur: Ziel = Modularer Build-Proz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EBOTSPRÄSENTATION</dc:title>
  <dc:creator>Microsoft Office-Benutzer</dc:creator>
  <cp:lastModifiedBy>Kohler, Jens</cp:lastModifiedBy>
  <cp:revision>73</cp:revision>
  <cp:lastPrinted>2020-10-15T11:16:35Z</cp:lastPrinted>
  <dcterms:created xsi:type="dcterms:W3CDTF">2018-09-12T08:16:32Z</dcterms:created>
  <dcterms:modified xsi:type="dcterms:W3CDTF">2021-03-12T16:4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81997E16230C46BB2D82801A7CEF71</vt:lpwstr>
  </property>
</Properties>
</file>